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6"/>
  </p:notesMasterIdLst>
  <p:sldIdLst>
    <p:sldId id="3284" r:id="rId5"/>
    <p:sldId id="2569" r:id="rId6"/>
    <p:sldId id="3275" r:id="rId7"/>
    <p:sldId id="3290" r:id="rId8"/>
    <p:sldId id="2542" r:id="rId9"/>
    <p:sldId id="3291" r:id="rId10"/>
    <p:sldId id="3277" r:id="rId11"/>
    <p:sldId id="3292" r:id="rId12"/>
    <p:sldId id="3293" r:id="rId13"/>
    <p:sldId id="3294" r:id="rId14"/>
    <p:sldId id="2558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47"/>
    <p:restoredTop sz="95788"/>
  </p:normalViewPr>
  <p:slideViewPr>
    <p:cSldViewPr snapToGrid="0">
      <p:cViewPr varScale="1">
        <p:scale>
          <a:sx n="145" d="100"/>
          <a:sy n="145" d="100"/>
        </p:scale>
        <p:origin x="1064" y="184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23.05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066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104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434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50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hilipp-schmelzer-hsg.shinyapps.io/shiny/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18. Dez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446550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valuierung des Prototypen 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ric Meier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Funktion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USS DES INTERVIEW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nnen Sie weitere Personen, die für ein Interview bereitstehen würd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Klärung letzter Fragen und </a:t>
            </a:r>
            <a:r>
              <a:rPr lang="de-DE" sz="1400" dirty="0" err="1"/>
              <a:t>Verdankung</a:t>
            </a:r>
            <a:r>
              <a:rPr lang="de-DE" sz="1400" dirty="0"/>
              <a:t> des Interviewpartners </a:t>
            </a:r>
          </a:p>
        </p:txBody>
      </p:sp>
    </p:spTree>
    <p:extLst>
      <p:ext uri="{BB962C8B-B14F-4D97-AF65-F5344CB8AC3E}">
        <p14:creationId xmlns:p14="http://schemas.microsoft.com/office/powerpoint/2010/main" val="637858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endParaRPr lang="de-DE" sz="14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iele des Interview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esten der </a:t>
            </a:r>
            <a:r>
              <a:rPr lang="de-DE" sz="1400" dirty="0" err="1"/>
              <a:t>Shiny-Webapp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swertung der Funktionalität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10-15 </a:t>
            </a:r>
            <a:r>
              <a:rPr lang="de-CH" sz="1500" b="1" dirty="0">
                <a:solidFill>
                  <a:prstClr val="black"/>
                </a:solidFill>
                <a:latin typeface="Calibri"/>
              </a:rPr>
              <a:t>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ZIELE DES INTERVIEW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Ziele für das Interview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Testen der Funktionalität der entwickelten Web-Applikation, um festzustellen, ob sie für die tägliche Anwendung geeignet ist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prüfung der Applikation auf verschiedene Faktoren wie z.B. Nachvollziehbarkeit der Resultate, Vertrauenswürdigkeit der Empfehlungen, Einfachheit der Bedienung etc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holen von Feedback für die Weiterentwicklung der Applikatio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3657601"/>
            <a:ext cx="4933950" cy="1038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Leitfrage für dieses Interview: </a:t>
            </a:r>
          </a:p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Stimmt die Applikation mit den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für die täglichen Verwendung überein?</a:t>
            </a:r>
          </a:p>
        </p:txBody>
      </p:sp>
    </p:spTree>
    <p:extLst>
      <p:ext uri="{BB962C8B-B14F-4D97-AF65-F5344CB8AC3E}">
        <p14:creationId xmlns:p14="http://schemas.microsoft.com/office/powerpoint/2010/main" val="1448746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ERKLÄRUNG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ink zu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Webapp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: </a:t>
            </a:r>
            <a:r>
              <a:rPr lang="de-DE" sz="1400" dirty="0">
                <a:solidFill>
                  <a:schemeClr val="tx1"/>
                </a:solidFill>
                <a:latin typeface="Calibri"/>
                <a:hlinkClick r:id="rId8"/>
              </a:rPr>
              <a:t>https://philipp-schmelzer-hsg.shinyapps.io/shiny/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Kurze Erklärung der Applikatio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Drei Menüvoraussagen für die nächsten 28 Tage basierend auf historischen Daten und weiteren Faktor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orhersage für einen oder für fünf ausgewählte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erlauf der verschiedenen angebotenen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rklärungen, die im Detail die Funktionsweise der Applikation beschreib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ingabemaske, mit der das Datum ausgewählt und der Bedarf an Menüs angepasst werden kann.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9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TESTEN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Der Interviewte soll folgende Operationen auf der App ausführen: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vorgeschlagenen drei Menüs auf Tages- und Wochenbasi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wahl eines bestimmten Tages / 5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Bedarf eines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r Icon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s Bedarfsverlauf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Ändern der betrachteten Menüs im Bedarfsverlauf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Erklärung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3974412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2" name="Tabelle 2">
            <a:extLst>
              <a:ext uri="{FF2B5EF4-FFF2-40B4-BE49-F238E27FC236}">
                <a16:creationId xmlns:a16="http://schemas.microsoft.com/office/drawing/2014/main" id="{BCECCD8E-9B10-E141-BEEB-20EDDD97EB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1530978"/>
              </p:ext>
            </p:extLst>
          </p:nvPr>
        </p:nvGraphicFramePr>
        <p:xfrm>
          <a:off x="477715" y="1273810"/>
          <a:ext cx="8191500" cy="3417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4039">
                  <a:extLst>
                    <a:ext uri="{9D8B030D-6E8A-4147-A177-3AD203B41FA5}">
                      <a16:colId xmlns:a16="http://schemas.microsoft.com/office/drawing/2014/main" val="61049810"/>
                    </a:ext>
                  </a:extLst>
                </a:gridCol>
                <a:gridCol w="5187461">
                  <a:extLst>
                    <a:ext uri="{9D8B030D-6E8A-4147-A177-3AD203B41FA5}">
                      <a16:colId xmlns:a16="http://schemas.microsoft.com/office/drawing/2014/main" val="385410762"/>
                    </a:ext>
                  </a:extLst>
                </a:gridCol>
              </a:tblGrid>
              <a:tr h="328940">
                <a:tc>
                  <a:txBody>
                    <a:bodyPr/>
                    <a:lstStyle/>
                    <a:p>
                      <a:r>
                        <a:rPr lang="de-DE" dirty="0"/>
                        <a:t>Zu bewertender Fak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wertung 1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9401115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Übersichtlichkei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3-4, Erklärungen am Anfang wären hilfrei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657022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Strukt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4-5, Computerfremde Personen finden sich auch zu rech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869574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Bedien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einfach zu bedienen, 4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1205891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Erklä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ind hilfreich, 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76185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Glaubwürdig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Persönliche Gefühl ist nicht inkludiert, Icons sind gut gewählt, 4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74428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Nachvollziehbar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Icons helfen, 4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700890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Gut zu verstehen einfach, 4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678140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Nützlich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Im </a:t>
                      </a:r>
                      <a:r>
                        <a:rPr lang="de-DE" sz="1200" dirty="0" err="1"/>
                        <a:t>grossen</a:t>
                      </a:r>
                      <a:r>
                        <a:rPr lang="de-DE" sz="1200" dirty="0"/>
                        <a:t> und ganzen nützlich, man muss es auf den Betrieb anpassen, 3-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3855123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wendbar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Gut verwendbar bei einem </a:t>
                      </a:r>
                      <a:r>
                        <a:rPr lang="de-DE" sz="1200" dirty="0" err="1"/>
                        <a:t>grossen</a:t>
                      </a:r>
                      <a:r>
                        <a:rPr lang="de-DE" sz="1200" dirty="0"/>
                        <a:t> Teil der Aufgaben, 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5807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3" name="Tabelle 3">
            <a:extLst>
              <a:ext uri="{FF2B5EF4-FFF2-40B4-BE49-F238E27FC236}">
                <a16:creationId xmlns:a16="http://schemas.microsoft.com/office/drawing/2014/main" id="{6A11B461-7F3D-5D49-B07E-1BBBEB10B0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229867"/>
              </p:ext>
            </p:extLst>
          </p:nvPr>
        </p:nvGraphicFramePr>
        <p:xfrm>
          <a:off x="438600" y="1241620"/>
          <a:ext cx="82668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61465">
                  <a:extLst>
                    <a:ext uri="{9D8B030D-6E8A-4147-A177-3AD203B41FA5}">
                      <a16:colId xmlns:a16="http://schemas.microsoft.com/office/drawing/2014/main" val="2926912899"/>
                    </a:ext>
                  </a:extLst>
                </a:gridCol>
                <a:gridCol w="826477">
                  <a:extLst>
                    <a:ext uri="{9D8B030D-6E8A-4147-A177-3AD203B41FA5}">
                      <a16:colId xmlns:a16="http://schemas.microsoft.com/office/drawing/2014/main" val="4034516113"/>
                    </a:ext>
                  </a:extLst>
                </a:gridCol>
                <a:gridCol w="678858">
                  <a:extLst>
                    <a:ext uri="{9D8B030D-6E8A-4147-A177-3AD203B41FA5}">
                      <a16:colId xmlns:a16="http://schemas.microsoft.com/office/drawing/2014/main" val="933594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J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e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13134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Vertrauen Sie den Vorhersagen der Applikatio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5926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en Sie 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die Vorhersagen nachvollzieh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8576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realistis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9407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glaubwürdig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7114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ind die Erklärungen in der App für Sie verständli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124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st die Bedienung der App für Sie intuitiv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1907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ten Sie sich vorstellen eine solche Applikation bei der Menüplanung zu verwend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9515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003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FEEDBACK FÜR DIE WEITERENTWICKL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Potenzial für die Weiterentwickl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rste Einarbeitung etwas schwierig, eine kleine Einführung wäre hilfreich,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step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by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step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Einführ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Menü in der Wochenübersicht aufsummieren, Gesamtsumm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ahlen bei den Graphiken und Vorhersagewert in den Graphiken integriert um einen Vergleich zu hab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für die Weiterentwicklung erhalten</a:t>
            </a:r>
          </a:p>
        </p:txBody>
      </p:sp>
    </p:spTree>
    <p:extLst>
      <p:ext uri="{BB962C8B-B14F-4D97-AF65-F5344CB8AC3E}">
        <p14:creationId xmlns:p14="http://schemas.microsoft.com/office/powerpoint/2010/main" val="437764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643</Words>
  <Application>Microsoft Macintosh PowerPoint</Application>
  <PresentationFormat>Bildschirmpräsentation (16:9)</PresentationFormat>
  <Paragraphs>129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6</cp:revision>
  <cp:lastPrinted>2020-03-29T12:41:23Z</cp:lastPrinted>
  <dcterms:created xsi:type="dcterms:W3CDTF">2019-10-08T08:06:46Z</dcterms:created>
  <dcterms:modified xsi:type="dcterms:W3CDTF">2021-05-23T16:4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